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6" r:id="rId1"/>
  </p:sldMasterIdLst>
  <p:notesMasterIdLst>
    <p:notesMasterId r:id="rId6"/>
  </p:notesMasterIdLst>
  <p:sldIdLst>
    <p:sldId id="670" r:id="rId2"/>
    <p:sldId id="616" r:id="rId3"/>
    <p:sldId id="634" r:id="rId4"/>
    <p:sldId id="669" r:id="rId5"/>
  </p:sldIdLst>
  <p:sldSz cx="9144000" cy="5143500" type="screen16x9"/>
  <p:notesSz cx="6858000" cy="9144000"/>
  <p:custDataLst>
    <p:tags r:id="rId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203" autoAdjust="0"/>
  </p:normalViewPr>
  <p:slideViewPr>
    <p:cSldViewPr>
      <p:cViewPr>
        <p:scale>
          <a:sx n="70" d="100"/>
          <a:sy n="70" d="100"/>
        </p:scale>
        <p:origin x="-1156" y="-36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4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111A1B4-CE53-4D86-97D4-0256984D6108}" type="datetimeFigureOut">
              <a:rPr lang="ru-RU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E82C365-48EF-4BC6-8FAC-71A9FBFB54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46179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25F357-7591-43BA-8FEB-9E2F54F74054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C2296C-9E1C-4AAC-918B-17E493D7933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3938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2D67DC-FF91-4A86-ADDC-C5E61C5027F7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B2F77C-EDEF-4A84-A6C7-A0E083E554B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4133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C9FCE3-23E5-4BB6-BAAD-81BE2BED1B47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BE7488-A5A0-4D03-B601-BDD56841390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752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200150"/>
            <a:ext cx="4038600" cy="35313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5313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812507"/>
            <a:ext cx="2133600" cy="273844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4BD5F92-5722-4135-A14C-ECDB865F0022}" type="datetimeFigureOut">
              <a:rPr lang="ru-RU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812507"/>
            <a:ext cx="2895600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924800" y="4812507"/>
            <a:ext cx="762000" cy="273844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F49958A-9B32-4683-974D-85FF20B2D8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827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A60FD02-DB36-43E9-9A1B-0897622B1294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B97DD0-7439-4121-BDDA-0F3E3DDE9B1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462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3C78A5-9646-454B-B90A-41CFDD499CAA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B7BD56-231E-49E4-B4FE-9B55EBBAEC6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671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E6E5A79-CDA6-4B30-98DE-356D854C5C22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B4F42B-ED1C-45B7-A46E-8DB3444FB56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006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827B3AD-D002-4E10-A477-82BD2007E059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6F99BA-BA23-4D4C-BF92-04FDAE6A010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5840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9228373-0030-4708-B329-484507B3DE6C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64C22C-DC61-4944-AD2A-51621E366F8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4233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2BC28C-5A20-434B-8D5F-35E503CD81EE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3133FF-4481-4903-B901-557E5C66676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716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E363730-2D9A-495B-8C25-408FB8AB6308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3525D3-F7A1-4291-8973-68E35465F46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808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032E57-8A1E-4602-A3E5-BF9BFDF800F8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EF20F8-3333-4078-9228-057FB9A3719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2998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5DC3CE71-3DA2-4A5D-B0BE-47AC9D6B6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05280670"/>
              </p:ext>
            </p:ext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0F81B956-F333-4FE6-84D2-5E0997D5DA4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DC47A8D-DB90-4A9B-9425-97FDABB6796E}" type="datetimeFigureOut">
              <a:rPr lang="ru-RU" smtClean="0"/>
              <a:pPr>
                <a:defRPr/>
              </a:pPr>
              <a:t>14.01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DD34739-6EA9-4101-9C4B-10D1DC52FA7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765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9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639659"/>
            <a:ext cx="8229600" cy="857250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то такое инсульт?</a:t>
            </a:r>
            <a:endParaRPr lang="ru-RU" dirty="0"/>
          </a:p>
        </p:txBody>
      </p:sp>
      <p:pic>
        <p:nvPicPr>
          <p:cNvPr id="3074" name="Picture 2" descr="Picture background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93" b="35103"/>
          <a:stretch/>
        </p:blipFill>
        <p:spPr bwMode="auto">
          <a:xfrm>
            <a:off x="683568" y="2571750"/>
            <a:ext cx="7804640" cy="2386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6" t="22178" r="53625" b="62278"/>
          <a:stretch/>
        </p:blipFill>
        <p:spPr bwMode="auto">
          <a:xfrm>
            <a:off x="0" y="0"/>
            <a:ext cx="3571426" cy="843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080" r="94527" b="22469"/>
          <a:stretch>
            <a:fillRect/>
          </a:stretch>
        </p:blipFill>
        <p:spPr bwMode="auto">
          <a:xfrm>
            <a:off x="7207301" y="2005"/>
            <a:ext cx="1936699" cy="1142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83568" y="1563638"/>
            <a:ext cx="835292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 smtClean="0"/>
              <a:t>Это нарушение мозгового кровообращения вследствие закупорки или разрыва сосуда</a:t>
            </a:r>
            <a:endParaRPr lang="ru-RU" sz="2600" b="1" dirty="0"/>
          </a:p>
        </p:txBody>
      </p:sp>
    </p:spTree>
    <p:extLst>
      <p:ext uri="{BB962C8B-B14F-4D97-AF65-F5344CB8AC3E}">
        <p14:creationId xmlns:p14="http://schemas.microsoft.com/office/powerpoint/2010/main" val="15640929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/>
          </p:cNvSpPr>
          <p:nvPr>
            <p:ph type="title"/>
          </p:nvPr>
        </p:nvSpPr>
        <p:spPr bwMode="auto">
          <a:xfrm>
            <a:off x="467544" y="28509"/>
            <a:ext cx="8229600" cy="583406"/>
          </a:xfrm>
          <a:noFill/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Autofit/>
          </a:bodyPr>
          <a:lstStyle/>
          <a:p>
            <a:r>
              <a:rPr lang="ru-RU" sz="3400" b="1" dirty="0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имптомы инсульта</a:t>
            </a:r>
            <a:endParaRPr lang="ru-RU" sz="3400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8787" name="Rectangle 3"/>
          <p:cNvSpPr>
            <a:spLocks noGrp="1"/>
          </p:cNvSpPr>
          <p:nvPr>
            <p:ph type="body" sz="half" idx="1"/>
          </p:nvPr>
        </p:nvSpPr>
        <p:spPr>
          <a:xfrm>
            <a:off x="179512" y="843558"/>
            <a:ext cx="8640960" cy="1566100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2800" dirty="0"/>
          </a:p>
        </p:txBody>
      </p:sp>
      <p:sp>
        <p:nvSpPr>
          <p:cNvPr id="2" name="Объект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92"/>
          <a:stretch/>
        </p:blipFill>
        <p:spPr bwMode="auto">
          <a:xfrm>
            <a:off x="0" y="798874"/>
            <a:ext cx="9144000" cy="4344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184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413" y="2800285"/>
            <a:ext cx="2344595" cy="1562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008" y="1939676"/>
            <a:ext cx="2922992" cy="164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8786" name="Rectangle 2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583406"/>
          </a:xfrm>
          <a:noFill/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ru-RU" sz="4000" b="1" dirty="0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факторы риска инсульта</a:t>
            </a:r>
            <a:endParaRPr lang="ru-RU" sz="4000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8787" name="Rectangle 3"/>
          <p:cNvSpPr>
            <a:spLocks noGrp="1"/>
          </p:cNvSpPr>
          <p:nvPr>
            <p:ph type="body" sz="half" idx="1"/>
          </p:nvPr>
        </p:nvSpPr>
        <p:spPr>
          <a:xfrm>
            <a:off x="107504" y="627534"/>
            <a:ext cx="8909431" cy="4248472"/>
          </a:xfrm>
        </p:spPr>
        <p:txBody>
          <a:bodyPr>
            <a:noAutofit/>
          </a:bodyPr>
          <a:lstStyle/>
          <a:p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ное артериальное давление</a:t>
            </a:r>
          </a:p>
          <a:p>
            <a:endParaRPr lang="ru-RU" sz="2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правильное питание</a:t>
            </a:r>
          </a:p>
          <a:p>
            <a:endParaRPr lang="ru-RU" sz="2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сутствие физической нагрузки</a:t>
            </a:r>
          </a:p>
          <a:p>
            <a:endParaRPr lang="ru-RU" sz="2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урение</a:t>
            </a:r>
          </a:p>
          <a:p>
            <a:endParaRPr lang="ru-RU" sz="2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жирение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7" y="555526"/>
            <a:ext cx="2636476" cy="13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124002"/>
            <a:ext cx="2016224" cy="1396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3" name="Picture 7" descr="Picture background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7940" y="3581423"/>
            <a:ext cx="2773288" cy="1562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799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0557"/>
            <a:ext cx="8229600" cy="678985"/>
          </a:xfrm>
        </p:spPr>
        <p:txBody>
          <a:bodyPr>
            <a:normAutofit/>
          </a:bodyPr>
          <a:lstStyle/>
          <a:p>
            <a:r>
              <a:rPr lang="ru-RU" sz="34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вичная профилактика инсульт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1942415" y="1600200"/>
            <a:ext cx="6591985" cy="2833217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AF502A85-3116-45CE-917C-B86EA1F8686F}" type="slidenum">
              <a:rPr lang="ru-RU" smtClean="0"/>
              <a:pPr fontAlgn="base">
                <a:spcAft>
                  <a:spcPct val="0"/>
                </a:spcAft>
                <a:defRPr/>
              </a:pPr>
              <a:t>4</a:t>
            </a:fld>
            <a:endParaRPr lang="ru-RU"/>
          </a:p>
        </p:txBody>
      </p:sp>
      <p:sp>
        <p:nvSpPr>
          <p:cNvPr id="5" name="Скругленная прямоугольная выноска 4"/>
          <p:cNvSpPr/>
          <p:nvPr/>
        </p:nvSpPr>
        <p:spPr>
          <a:xfrm>
            <a:off x="179512" y="771550"/>
            <a:ext cx="8885703" cy="3873503"/>
          </a:xfrm>
          <a:prstGeom prst="wedgeRoundRectCallou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sz="2200" b="1" dirty="0"/>
              <a:t>Обязательная профилактика атеросклероза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Снижение веса и здоровое питание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150 минут физической активности в неделю (ходьба) или 75 минут физической интенсивной нагрузки в неделю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Лечение диабета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Не курить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Применение Ацетилсалициловой кислоты только по показаниям.</a:t>
            </a:r>
          </a:p>
          <a:p>
            <a:pPr marL="342900" indent="-342900">
              <a:buAutoNum type="arabicPeriod"/>
            </a:pPr>
            <a:r>
              <a:rPr lang="ru-RU" sz="2200" b="1" dirty="0"/>
              <a:t>Целевой уровень АД ниже 130/80 </a:t>
            </a:r>
            <a:r>
              <a:rPr lang="ru-RU" sz="2200" b="1" dirty="0" err="1"/>
              <a:t>мм.рт.ст</a:t>
            </a:r>
            <a:r>
              <a:rPr lang="ru-RU" sz="2200" b="1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4422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aJmF4FJlaQPcW9PXkqR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73</TotalTime>
  <Words>81</Words>
  <Application>Microsoft Office PowerPoint</Application>
  <PresentationFormat>Экран (16:9)</PresentationFormat>
  <Paragraphs>22</Paragraphs>
  <Slides>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6" baseType="lpstr">
      <vt:lpstr>Тема Office</vt:lpstr>
      <vt:lpstr>Слайд think-cell</vt:lpstr>
      <vt:lpstr>Что такое инсульт?</vt:lpstr>
      <vt:lpstr>Симптомы инсульта</vt:lpstr>
      <vt:lpstr>Основные факторы риска инсульта</vt:lpstr>
      <vt:lpstr>Первичная профилактика инсульт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оли в спине. Скелетно-мышечные причины.</dc:title>
  <dc:creator>user</dc:creator>
  <cp:lastModifiedBy>Lenovo</cp:lastModifiedBy>
  <cp:revision>370</cp:revision>
  <dcterms:created xsi:type="dcterms:W3CDTF">2011-09-25T11:53:27Z</dcterms:created>
  <dcterms:modified xsi:type="dcterms:W3CDTF">2025-01-14T05:52:39Z</dcterms:modified>
</cp:coreProperties>
</file>